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6" r:id="rId1"/>
  </p:sldMasterIdLst>
  <p:sldIdLst>
    <p:sldId id="256" r:id="rId2"/>
  </p:sldIdLst>
  <p:sldSz cx="3095625" cy="1439863"/>
  <p:notesSz cx="6858000" cy="9144000"/>
  <p:custDataLst>
    <p:tags r:id="rId3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9749" autoAdjust="0"/>
    <p:restoredTop sz="94660"/>
  </p:normalViewPr>
  <p:slideViewPr>
    <p:cSldViewPr snapToGrid="0">
      <p:cViewPr>
        <p:scale>
          <a:sx n="300" d="100"/>
          <a:sy n="300" d="100"/>
        </p:scale>
        <p:origin x="1692" y="114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tags" Target="tags/tag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86953" y="235644"/>
            <a:ext cx="2321719" cy="501286"/>
          </a:xfrm>
        </p:spPr>
        <p:txBody>
          <a:bodyPr anchor="b"/>
          <a:lstStyle>
            <a:lvl1pPr algn="ctr">
              <a:defRPr sz="1260"/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86953" y="756262"/>
            <a:ext cx="2321719" cy="347633"/>
          </a:xfrm>
        </p:spPr>
        <p:txBody>
          <a:bodyPr/>
          <a:lstStyle>
            <a:lvl1pPr marL="0" indent="0" algn="ctr">
              <a:buNone/>
              <a:defRPr sz="504"/>
            </a:lvl1pPr>
            <a:lvl2pPr marL="96012" indent="0" algn="ctr">
              <a:buNone/>
              <a:defRPr sz="420"/>
            </a:lvl2pPr>
            <a:lvl3pPr marL="192024" indent="0" algn="ctr">
              <a:buNone/>
              <a:defRPr sz="378"/>
            </a:lvl3pPr>
            <a:lvl4pPr marL="288036" indent="0" algn="ctr">
              <a:buNone/>
              <a:defRPr sz="336"/>
            </a:lvl4pPr>
            <a:lvl5pPr marL="384048" indent="0" algn="ctr">
              <a:buNone/>
              <a:defRPr sz="336"/>
            </a:lvl5pPr>
            <a:lvl6pPr marL="480060" indent="0" algn="ctr">
              <a:buNone/>
              <a:defRPr sz="336"/>
            </a:lvl6pPr>
            <a:lvl7pPr marL="576072" indent="0" algn="ctr">
              <a:buNone/>
              <a:defRPr sz="336"/>
            </a:lvl7pPr>
            <a:lvl8pPr marL="672084" indent="0" algn="ctr">
              <a:buNone/>
              <a:defRPr sz="336"/>
            </a:lvl8pPr>
            <a:lvl9pPr marL="768096" indent="0" algn="ctr">
              <a:buNone/>
              <a:defRPr sz="336"/>
            </a:lvl9pPr>
          </a:lstStyle>
          <a:p>
            <a:r>
              <a:rPr lang="de-DE" smtClean="0"/>
              <a:t>Formatvorlage des Untertitelmasters durch Klicken bearbeite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C93BBD2-B587-4421-B8E5-F07A11DB88D9}" type="datetimeFigureOut">
              <a:rPr lang="de-DE" smtClean="0"/>
              <a:t>10.02.2020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7E95F6-1ACA-48F0-93E7-526DE451436D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0974789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C93BBD2-B587-4421-B8E5-F07A11DB88D9}" type="datetimeFigureOut">
              <a:rPr lang="de-DE" smtClean="0"/>
              <a:t>10.02.2020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7E95F6-1ACA-48F0-93E7-526DE451436D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0327972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2215307" y="76660"/>
            <a:ext cx="667494" cy="1220217"/>
          </a:xfrm>
        </p:spPr>
        <p:txBody>
          <a:bodyPr vert="eaVert"/>
          <a:lstStyle/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212824" y="76660"/>
            <a:ext cx="1963787" cy="1220217"/>
          </a:xfrm>
        </p:spPr>
        <p:txBody>
          <a:bodyPr vert="eaVert"/>
          <a:lstStyle/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C93BBD2-B587-4421-B8E5-F07A11DB88D9}" type="datetimeFigureOut">
              <a:rPr lang="de-DE" smtClean="0"/>
              <a:t>10.02.2020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7E95F6-1ACA-48F0-93E7-526DE451436D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6022115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C93BBD2-B587-4421-B8E5-F07A11DB88D9}" type="datetimeFigureOut">
              <a:rPr lang="de-DE" smtClean="0"/>
              <a:t>10.02.2020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7E95F6-1ACA-48F0-93E7-526DE451436D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0633813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1212" y="358966"/>
            <a:ext cx="2669977" cy="598943"/>
          </a:xfrm>
        </p:spPr>
        <p:txBody>
          <a:bodyPr anchor="b"/>
          <a:lstStyle>
            <a:lvl1pPr>
              <a:defRPr sz="1260"/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11212" y="963575"/>
            <a:ext cx="2669977" cy="314970"/>
          </a:xfrm>
        </p:spPr>
        <p:txBody>
          <a:bodyPr/>
          <a:lstStyle>
            <a:lvl1pPr marL="0" indent="0">
              <a:buNone/>
              <a:defRPr sz="504">
                <a:solidFill>
                  <a:schemeClr val="tx1">
                    <a:tint val="75000"/>
                  </a:schemeClr>
                </a:solidFill>
              </a:defRPr>
            </a:lvl1pPr>
            <a:lvl2pPr marL="96012" indent="0">
              <a:buNone/>
              <a:defRPr sz="420">
                <a:solidFill>
                  <a:schemeClr val="tx1">
                    <a:tint val="75000"/>
                  </a:schemeClr>
                </a:solidFill>
              </a:defRPr>
            </a:lvl2pPr>
            <a:lvl3pPr marL="192024" indent="0">
              <a:buNone/>
              <a:defRPr sz="378">
                <a:solidFill>
                  <a:schemeClr val="tx1">
                    <a:tint val="75000"/>
                  </a:schemeClr>
                </a:solidFill>
              </a:defRPr>
            </a:lvl3pPr>
            <a:lvl4pPr marL="288036" indent="0">
              <a:buNone/>
              <a:defRPr sz="336">
                <a:solidFill>
                  <a:schemeClr val="tx1">
                    <a:tint val="75000"/>
                  </a:schemeClr>
                </a:solidFill>
              </a:defRPr>
            </a:lvl4pPr>
            <a:lvl5pPr marL="384048" indent="0">
              <a:buNone/>
              <a:defRPr sz="336">
                <a:solidFill>
                  <a:schemeClr val="tx1">
                    <a:tint val="75000"/>
                  </a:schemeClr>
                </a:solidFill>
              </a:defRPr>
            </a:lvl5pPr>
            <a:lvl6pPr marL="480060" indent="0">
              <a:buNone/>
              <a:defRPr sz="336">
                <a:solidFill>
                  <a:schemeClr val="tx1">
                    <a:tint val="75000"/>
                  </a:schemeClr>
                </a:solidFill>
              </a:defRPr>
            </a:lvl6pPr>
            <a:lvl7pPr marL="576072" indent="0">
              <a:buNone/>
              <a:defRPr sz="336">
                <a:solidFill>
                  <a:schemeClr val="tx1">
                    <a:tint val="75000"/>
                  </a:schemeClr>
                </a:solidFill>
              </a:defRPr>
            </a:lvl7pPr>
            <a:lvl8pPr marL="672084" indent="0">
              <a:buNone/>
              <a:defRPr sz="336">
                <a:solidFill>
                  <a:schemeClr val="tx1">
                    <a:tint val="75000"/>
                  </a:schemeClr>
                </a:solidFill>
              </a:defRPr>
            </a:lvl8pPr>
            <a:lvl9pPr marL="768096" indent="0">
              <a:buNone/>
              <a:defRPr sz="336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C93BBD2-B587-4421-B8E5-F07A11DB88D9}" type="datetimeFigureOut">
              <a:rPr lang="de-DE" smtClean="0"/>
              <a:t>10.02.2020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7E95F6-1ACA-48F0-93E7-526DE451436D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0331925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212824" y="383297"/>
            <a:ext cx="1315641" cy="913580"/>
          </a:xfrm>
        </p:spPr>
        <p:txBody>
          <a:bodyPr/>
          <a:lstStyle/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567160" y="383297"/>
            <a:ext cx="1315641" cy="913580"/>
          </a:xfrm>
        </p:spPr>
        <p:txBody>
          <a:bodyPr/>
          <a:lstStyle/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C93BBD2-B587-4421-B8E5-F07A11DB88D9}" type="datetimeFigureOut">
              <a:rPr lang="de-DE" smtClean="0"/>
              <a:t>10.02.2020</a:t>
            </a:fld>
            <a:endParaRPr lang="de-D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7E95F6-1ACA-48F0-93E7-526DE451436D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9428180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3227" y="76659"/>
            <a:ext cx="2669977" cy="278307"/>
          </a:xfr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13228" y="352967"/>
            <a:ext cx="1309594" cy="172983"/>
          </a:xfrm>
        </p:spPr>
        <p:txBody>
          <a:bodyPr anchor="b"/>
          <a:lstStyle>
            <a:lvl1pPr marL="0" indent="0">
              <a:buNone/>
              <a:defRPr sz="504" b="1"/>
            </a:lvl1pPr>
            <a:lvl2pPr marL="96012" indent="0">
              <a:buNone/>
              <a:defRPr sz="420" b="1"/>
            </a:lvl2pPr>
            <a:lvl3pPr marL="192024" indent="0">
              <a:buNone/>
              <a:defRPr sz="378" b="1"/>
            </a:lvl3pPr>
            <a:lvl4pPr marL="288036" indent="0">
              <a:buNone/>
              <a:defRPr sz="336" b="1"/>
            </a:lvl4pPr>
            <a:lvl5pPr marL="384048" indent="0">
              <a:buNone/>
              <a:defRPr sz="336" b="1"/>
            </a:lvl5pPr>
            <a:lvl6pPr marL="480060" indent="0">
              <a:buNone/>
              <a:defRPr sz="336" b="1"/>
            </a:lvl6pPr>
            <a:lvl7pPr marL="576072" indent="0">
              <a:buNone/>
              <a:defRPr sz="336" b="1"/>
            </a:lvl7pPr>
            <a:lvl8pPr marL="672084" indent="0">
              <a:buNone/>
              <a:defRPr sz="336" b="1"/>
            </a:lvl8pPr>
            <a:lvl9pPr marL="768096" indent="0">
              <a:buNone/>
              <a:defRPr sz="336" b="1"/>
            </a:lvl9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213228" y="525950"/>
            <a:ext cx="1309594" cy="773593"/>
          </a:xfrm>
        </p:spPr>
        <p:txBody>
          <a:bodyPr/>
          <a:lstStyle/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1567160" y="352967"/>
            <a:ext cx="1316044" cy="172983"/>
          </a:xfrm>
        </p:spPr>
        <p:txBody>
          <a:bodyPr anchor="b"/>
          <a:lstStyle>
            <a:lvl1pPr marL="0" indent="0">
              <a:buNone/>
              <a:defRPr sz="504" b="1"/>
            </a:lvl1pPr>
            <a:lvl2pPr marL="96012" indent="0">
              <a:buNone/>
              <a:defRPr sz="420" b="1"/>
            </a:lvl2pPr>
            <a:lvl3pPr marL="192024" indent="0">
              <a:buNone/>
              <a:defRPr sz="378" b="1"/>
            </a:lvl3pPr>
            <a:lvl4pPr marL="288036" indent="0">
              <a:buNone/>
              <a:defRPr sz="336" b="1"/>
            </a:lvl4pPr>
            <a:lvl5pPr marL="384048" indent="0">
              <a:buNone/>
              <a:defRPr sz="336" b="1"/>
            </a:lvl5pPr>
            <a:lvl6pPr marL="480060" indent="0">
              <a:buNone/>
              <a:defRPr sz="336" b="1"/>
            </a:lvl6pPr>
            <a:lvl7pPr marL="576072" indent="0">
              <a:buNone/>
              <a:defRPr sz="336" b="1"/>
            </a:lvl7pPr>
            <a:lvl8pPr marL="672084" indent="0">
              <a:buNone/>
              <a:defRPr sz="336" b="1"/>
            </a:lvl8pPr>
            <a:lvl9pPr marL="768096" indent="0">
              <a:buNone/>
              <a:defRPr sz="336" b="1"/>
            </a:lvl9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1567160" y="525950"/>
            <a:ext cx="1316044" cy="773593"/>
          </a:xfrm>
        </p:spPr>
        <p:txBody>
          <a:bodyPr/>
          <a:lstStyle/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C93BBD2-B587-4421-B8E5-F07A11DB88D9}" type="datetimeFigureOut">
              <a:rPr lang="de-DE" smtClean="0"/>
              <a:t>10.02.2020</a:t>
            </a:fld>
            <a:endParaRPr lang="de-DE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7E95F6-1ACA-48F0-93E7-526DE451436D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2028688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C93BBD2-B587-4421-B8E5-F07A11DB88D9}" type="datetimeFigureOut">
              <a:rPr lang="de-DE" smtClean="0"/>
              <a:t>10.02.2020</a:t>
            </a:fld>
            <a:endParaRPr lang="de-DE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7E95F6-1ACA-48F0-93E7-526DE451436D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6832468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C93BBD2-B587-4421-B8E5-F07A11DB88D9}" type="datetimeFigureOut">
              <a:rPr lang="de-DE" smtClean="0"/>
              <a:t>10.02.2020</a:t>
            </a:fld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7E95F6-1ACA-48F0-93E7-526DE451436D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08802114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3227" y="95991"/>
            <a:ext cx="998420" cy="335968"/>
          </a:xfrm>
        </p:spPr>
        <p:txBody>
          <a:bodyPr anchor="b"/>
          <a:lstStyle>
            <a:lvl1pPr>
              <a:defRPr sz="672"/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316044" y="207314"/>
            <a:ext cx="1567160" cy="1023236"/>
          </a:xfrm>
        </p:spPr>
        <p:txBody>
          <a:bodyPr/>
          <a:lstStyle>
            <a:lvl1pPr>
              <a:defRPr sz="672"/>
            </a:lvl1pPr>
            <a:lvl2pPr>
              <a:defRPr sz="588"/>
            </a:lvl2pPr>
            <a:lvl3pPr>
              <a:defRPr sz="504"/>
            </a:lvl3pPr>
            <a:lvl4pPr>
              <a:defRPr sz="420"/>
            </a:lvl4pPr>
            <a:lvl5pPr>
              <a:defRPr sz="420"/>
            </a:lvl5pPr>
            <a:lvl6pPr>
              <a:defRPr sz="420"/>
            </a:lvl6pPr>
            <a:lvl7pPr>
              <a:defRPr sz="420"/>
            </a:lvl7pPr>
            <a:lvl8pPr>
              <a:defRPr sz="420"/>
            </a:lvl8pPr>
            <a:lvl9pPr>
              <a:defRPr sz="420"/>
            </a:lvl9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13227" y="431959"/>
            <a:ext cx="998420" cy="800257"/>
          </a:xfrm>
        </p:spPr>
        <p:txBody>
          <a:bodyPr/>
          <a:lstStyle>
            <a:lvl1pPr marL="0" indent="0">
              <a:buNone/>
              <a:defRPr sz="336"/>
            </a:lvl1pPr>
            <a:lvl2pPr marL="96012" indent="0">
              <a:buNone/>
              <a:defRPr sz="294"/>
            </a:lvl2pPr>
            <a:lvl3pPr marL="192024" indent="0">
              <a:buNone/>
              <a:defRPr sz="252"/>
            </a:lvl3pPr>
            <a:lvl4pPr marL="288036" indent="0">
              <a:buNone/>
              <a:defRPr sz="210"/>
            </a:lvl4pPr>
            <a:lvl5pPr marL="384048" indent="0">
              <a:buNone/>
              <a:defRPr sz="210"/>
            </a:lvl5pPr>
            <a:lvl6pPr marL="480060" indent="0">
              <a:buNone/>
              <a:defRPr sz="210"/>
            </a:lvl6pPr>
            <a:lvl7pPr marL="576072" indent="0">
              <a:buNone/>
              <a:defRPr sz="210"/>
            </a:lvl7pPr>
            <a:lvl8pPr marL="672084" indent="0">
              <a:buNone/>
              <a:defRPr sz="210"/>
            </a:lvl8pPr>
            <a:lvl9pPr marL="768096" indent="0">
              <a:buNone/>
              <a:defRPr sz="210"/>
            </a:lvl9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C93BBD2-B587-4421-B8E5-F07A11DB88D9}" type="datetimeFigureOut">
              <a:rPr lang="de-DE" smtClean="0"/>
              <a:t>10.02.2020</a:t>
            </a:fld>
            <a:endParaRPr lang="de-D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7E95F6-1ACA-48F0-93E7-526DE451436D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2795885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3227" y="95991"/>
            <a:ext cx="998420" cy="335968"/>
          </a:xfrm>
        </p:spPr>
        <p:txBody>
          <a:bodyPr anchor="b"/>
          <a:lstStyle>
            <a:lvl1pPr>
              <a:defRPr sz="672"/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1316044" y="207314"/>
            <a:ext cx="1567160" cy="1023236"/>
          </a:xfrm>
        </p:spPr>
        <p:txBody>
          <a:bodyPr anchor="t"/>
          <a:lstStyle>
            <a:lvl1pPr marL="0" indent="0">
              <a:buNone/>
              <a:defRPr sz="672"/>
            </a:lvl1pPr>
            <a:lvl2pPr marL="96012" indent="0">
              <a:buNone/>
              <a:defRPr sz="588"/>
            </a:lvl2pPr>
            <a:lvl3pPr marL="192024" indent="0">
              <a:buNone/>
              <a:defRPr sz="504"/>
            </a:lvl3pPr>
            <a:lvl4pPr marL="288036" indent="0">
              <a:buNone/>
              <a:defRPr sz="420"/>
            </a:lvl4pPr>
            <a:lvl5pPr marL="384048" indent="0">
              <a:buNone/>
              <a:defRPr sz="420"/>
            </a:lvl5pPr>
            <a:lvl6pPr marL="480060" indent="0">
              <a:buNone/>
              <a:defRPr sz="420"/>
            </a:lvl6pPr>
            <a:lvl7pPr marL="576072" indent="0">
              <a:buNone/>
              <a:defRPr sz="420"/>
            </a:lvl7pPr>
            <a:lvl8pPr marL="672084" indent="0">
              <a:buNone/>
              <a:defRPr sz="420"/>
            </a:lvl8pPr>
            <a:lvl9pPr marL="768096" indent="0">
              <a:buNone/>
              <a:defRPr sz="420"/>
            </a:lvl9pPr>
          </a:lstStyle>
          <a:p>
            <a:r>
              <a:rPr lang="de-DE" smtClean="0"/>
              <a:t>Bild durch Klicken auf Symbol hinzufügen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13227" y="431959"/>
            <a:ext cx="998420" cy="800257"/>
          </a:xfrm>
        </p:spPr>
        <p:txBody>
          <a:bodyPr/>
          <a:lstStyle>
            <a:lvl1pPr marL="0" indent="0">
              <a:buNone/>
              <a:defRPr sz="336"/>
            </a:lvl1pPr>
            <a:lvl2pPr marL="96012" indent="0">
              <a:buNone/>
              <a:defRPr sz="294"/>
            </a:lvl2pPr>
            <a:lvl3pPr marL="192024" indent="0">
              <a:buNone/>
              <a:defRPr sz="252"/>
            </a:lvl3pPr>
            <a:lvl4pPr marL="288036" indent="0">
              <a:buNone/>
              <a:defRPr sz="210"/>
            </a:lvl4pPr>
            <a:lvl5pPr marL="384048" indent="0">
              <a:buNone/>
              <a:defRPr sz="210"/>
            </a:lvl5pPr>
            <a:lvl6pPr marL="480060" indent="0">
              <a:buNone/>
              <a:defRPr sz="210"/>
            </a:lvl6pPr>
            <a:lvl7pPr marL="576072" indent="0">
              <a:buNone/>
              <a:defRPr sz="210"/>
            </a:lvl7pPr>
            <a:lvl8pPr marL="672084" indent="0">
              <a:buNone/>
              <a:defRPr sz="210"/>
            </a:lvl8pPr>
            <a:lvl9pPr marL="768096" indent="0">
              <a:buNone/>
              <a:defRPr sz="210"/>
            </a:lvl9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C93BBD2-B587-4421-B8E5-F07A11DB88D9}" type="datetimeFigureOut">
              <a:rPr lang="de-DE" smtClean="0"/>
              <a:t>10.02.2020</a:t>
            </a:fld>
            <a:endParaRPr lang="de-D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7E95F6-1ACA-48F0-93E7-526DE451436D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2659964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12824" y="76659"/>
            <a:ext cx="2669977" cy="27830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12824" y="383297"/>
            <a:ext cx="2669977" cy="91358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212824" y="1334540"/>
            <a:ext cx="696516" cy="7665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252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C93BBD2-B587-4421-B8E5-F07A11DB88D9}" type="datetimeFigureOut">
              <a:rPr lang="de-DE" smtClean="0"/>
              <a:t>10.02.2020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025426" y="1334540"/>
            <a:ext cx="1044773" cy="7665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252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2186285" y="1334540"/>
            <a:ext cx="696516" cy="7665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52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07E95F6-1ACA-48F0-93E7-526DE451436D}" type="slidenum">
              <a:rPr lang="de-DE" smtClean="0"/>
              <a:t>‹Nr.›</a:t>
            </a:fld>
            <a:endParaRPr lang="de-DE"/>
          </a:p>
        </p:txBody>
      </p:sp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2099507201"/>
              </p:ext>
            </p:extLst>
          </p:nvPr>
        </p:nvGraphicFramePr>
        <p:xfrm>
          <a:off x="406" y="334"/>
          <a:ext cx="403" cy="33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9" name="think-cell Folie" r:id="rId16" imgW="384" imgH="384" progId="TCLayout.ActiveDocument.1">
                  <p:embed/>
                </p:oleObj>
              </mc:Choice>
              <mc:Fallback>
                <p:oleObj name="think-cell Folie" r:id="rId16" imgW="384" imgH="384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406" y="334"/>
                        <a:ext cx="403" cy="33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 hidden="1"/>
          <p:cNvSpPr/>
          <p:nvPr userDrawn="1">
            <p:custDataLst>
              <p:tags r:id="rId15"/>
            </p:custDataLst>
          </p:nvPr>
        </p:nvSpPr>
        <p:spPr>
          <a:xfrm>
            <a:off x="0" y="1"/>
            <a:ext cx="40308" cy="33329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de-DE" sz="924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219301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1"/>
    <p:sldLayoutId id="2147483698" r:id="rId2"/>
    <p:sldLayoutId id="2147483699" r:id="rId3"/>
    <p:sldLayoutId id="2147483700" r:id="rId4"/>
    <p:sldLayoutId id="2147483701" r:id="rId5"/>
    <p:sldLayoutId id="2147483702" r:id="rId6"/>
    <p:sldLayoutId id="2147483703" r:id="rId7"/>
    <p:sldLayoutId id="2147483704" r:id="rId8"/>
    <p:sldLayoutId id="2147483705" r:id="rId9"/>
    <p:sldLayoutId id="2147483706" r:id="rId10"/>
    <p:sldLayoutId id="2147483707" r:id="rId11"/>
  </p:sldLayoutIdLst>
  <p:txStyles>
    <p:titleStyle>
      <a:lvl1pPr algn="l" defTabSz="192024" rtl="0" eaLnBrk="1" latinLnBrk="0" hangingPunct="1">
        <a:lnSpc>
          <a:spcPct val="90000"/>
        </a:lnSpc>
        <a:spcBef>
          <a:spcPct val="0"/>
        </a:spcBef>
        <a:buNone/>
        <a:defRPr sz="924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48006" indent="-48006" algn="l" defTabSz="192024" rtl="0" eaLnBrk="1" latinLnBrk="0" hangingPunct="1">
        <a:lnSpc>
          <a:spcPct val="90000"/>
        </a:lnSpc>
        <a:spcBef>
          <a:spcPts val="210"/>
        </a:spcBef>
        <a:buFont typeface="Arial" panose="020B0604020202020204" pitchFamily="34" charset="0"/>
        <a:buChar char="•"/>
        <a:defRPr sz="588" kern="1200">
          <a:solidFill>
            <a:schemeClr val="tx1"/>
          </a:solidFill>
          <a:latin typeface="+mn-lt"/>
          <a:ea typeface="+mn-ea"/>
          <a:cs typeface="+mn-cs"/>
        </a:defRPr>
      </a:lvl1pPr>
      <a:lvl2pPr marL="144018" indent="-48006" algn="l" defTabSz="192024" rtl="0" eaLnBrk="1" latinLnBrk="0" hangingPunct="1">
        <a:lnSpc>
          <a:spcPct val="90000"/>
        </a:lnSpc>
        <a:spcBef>
          <a:spcPts val="105"/>
        </a:spcBef>
        <a:buFont typeface="Arial" panose="020B0604020202020204" pitchFamily="34" charset="0"/>
        <a:buChar char="•"/>
        <a:defRPr sz="504" kern="1200">
          <a:solidFill>
            <a:schemeClr val="tx1"/>
          </a:solidFill>
          <a:latin typeface="+mn-lt"/>
          <a:ea typeface="+mn-ea"/>
          <a:cs typeface="+mn-cs"/>
        </a:defRPr>
      </a:lvl2pPr>
      <a:lvl3pPr marL="240030" indent="-48006" algn="l" defTabSz="192024" rtl="0" eaLnBrk="1" latinLnBrk="0" hangingPunct="1">
        <a:lnSpc>
          <a:spcPct val="90000"/>
        </a:lnSpc>
        <a:spcBef>
          <a:spcPts val="105"/>
        </a:spcBef>
        <a:buFont typeface="Arial" panose="020B0604020202020204" pitchFamily="34" charset="0"/>
        <a:buChar char="•"/>
        <a:defRPr sz="420" kern="1200">
          <a:solidFill>
            <a:schemeClr val="tx1"/>
          </a:solidFill>
          <a:latin typeface="+mn-lt"/>
          <a:ea typeface="+mn-ea"/>
          <a:cs typeface="+mn-cs"/>
        </a:defRPr>
      </a:lvl3pPr>
      <a:lvl4pPr marL="336042" indent="-48006" algn="l" defTabSz="192024" rtl="0" eaLnBrk="1" latinLnBrk="0" hangingPunct="1">
        <a:lnSpc>
          <a:spcPct val="90000"/>
        </a:lnSpc>
        <a:spcBef>
          <a:spcPts val="105"/>
        </a:spcBef>
        <a:buFont typeface="Arial" panose="020B0604020202020204" pitchFamily="34" charset="0"/>
        <a:buChar char="•"/>
        <a:defRPr sz="378" kern="1200">
          <a:solidFill>
            <a:schemeClr val="tx1"/>
          </a:solidFill>
          <a:latin typeface="+mn-lt"/>
          <a:ea typeface="+mn-ea"/>
          <a:cs typeface="+mn-cs"/>
        </a:defRPr>
      </a:lvl4pPr>
      <a:lvl5pPr marL="432054" indent="-48006" algn="l" defTabSz="192024" rtl="0" eaLnBrk="1" latinLnBrk="0" hangingPunct="1">
        <a:lnSpc>
          <a:spcPct val="90000"/>
        </a:lnSpc>
        <a:spcBef>
          <a:spcPts val="105"/>
        </a:spcBef>
        <a:buFont typeface="Arial" panose="020B0604020202020204" pitchFamily="34" charset="0"/>
        <a:buChar char="•"/>
        <a:defRPr sz="378" kern="1200">
          <a:solidFill>
            <a:schemeClr val="tx1"/>
          </a:solidFill>
          <a:latin typeface="+mn-lt"/>
          <a:ea typeface="+mn-ea"/>
          <a:cs typeface="+mn-cs"/>
        </a:defRPr>
      </a:lvl5pPr>
      <a:lvl6pPr marL="528066" indent="-48006" algn="l" defTabSz="192024" rtl="0" eaLnBrk="1" latinLnBrk="0" hangingPunct="1">
        <a:lnSpc>
          <a:spcPct val="90000"/>
        </a:lnSpc>
        <a:spcBef>
          <a:spcPts val="105"/>
        </a:spcBef>
        <a:buFont typeface="Arial" panose="020B0604020202020204" pitchFamily="34" charset="0"/>
        <a:buChar char="•"/>
        <a:defRPr sz="378" kern="1200">
          <a:solidFill>
            <a:schemeClr val="tx1"/>
          </a:solidFill>
          <a:latin typeface="+mn-lt"/>
          <a:ea typeface="+mn-ea"/>
          <a:cs typeface="+mn-cs"/>
        </a:defRPr>
      </a:lvl6pPr>
      <a:lvl7pPr marL="624078" indent="-48006" algn="l" defTabSz="192024" rtl="0" eaLnBrk="1" latinLnBrk="0" hangingPunct="1">
        <a:lnSpc>
          <a:spcPct val="90000"/>
        </a:lnSpc>
        <a:spcBef>
          <a:spcPts val="105"/>
        </a:spcBef>
        <a:buFont typeface="Arial" panose="020B0604020202020204" pitchFamily="34" charset="0"/>
        <a:buChar char="•"/>
        <a:defRPr sz="378" kern="1200">
          <a:solidFill>
            <a:schemeClr val="tx1"/>
          </a:solidFill>
          <a:latin typeface="+mn-lt"/>
          <a:ea typeface="+mn-ea"/>
          <a:cs typeface="+mn-cs"/>
        </a:defRPr>
      </a:lvl7pPr>
      <a:lvl8pPr marL="720090" indent="-48006" algn="l" defTabSz="192024" rtl="0" eaLnBrk="1" latinLnBrk="0" hangingPunct="1">
        <a:lnSpc>
          <a:spcPct val="90000"/>
        </a:lnSpc>
        <a:spcBef>
          <a:spcPts val="105"/>
        </a:spcBef>
        <a:buFont typeface="Arial" panose="020B0604020202020204" pitchFamily="34" charset="0"/>
        <a:buChar char="•"/>
        <a:defRPr sz="378" kern="1200">
          <a:solidFill>
            <a:schemeClr val="tx1"/>
          </a:solidFill>
          <a:latin typeface="+mn-lt"/>
          <a:ea typeface="+mn-ea"/>
          <a:cs typeface="+mn-cs"/>
        </a:defRPr>
      </a:lvl8pPr>
      <a:lvl9pPr marL="816102" indent="-48006" algn="l" defTabSz="192024" rtl="0" eaLnBrk="1" latinLnBrk="0" hangingPunct="1">
        <a:lnSpc>
          <a:spcPct val="90000"/>
        </a:lnSpc>
        <a:spcBef>
          <a:spcPts val="105"/>
        </a:spcBef>
        <a:buFont typeface="Arial" panose="020B0604020202020204" pitchFamily="34" charset="0"/>
        <a:buChar char="•"/>
        <a:defRPr sz="378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92024" rtl="0" eaLnBrk="1" latinLnBrk="0" hangingPunct="1">
        <a:defRPr sz="378" kern="1200">
          <a:solidFill>
            <a:schemeClr val="tx1"/>
          </a:solidFill>
          <a:latin typeface="+mn-lt"/>
          <a:ea typeface="+mn-ea"/>
          <a:cs typeface="+mn-cs"/>
        </a:defRPr>
      </a:lvl1pPr>
      <a:lvl2pPr marL="96012" algn="l" defTabSz="192024" rtl="0" eaLnBrk="1" latinLnBrk="0" hangingPunct="1">
        <a:defRPr sz="378" kern="1200">
          <a:solidFill>
            <a:schemeClr val="tx1"/>
          </a:solidFill>
          <a:latin typeface="+mn-lt"/>
          <a:ea typeface="+mn-ea"/>
          <a:cs typeface="+mn-cs"/>
        </a:defRPr>
      </a:lvl2pPr>
      <a:lvl3pPr marL="192024" algn="l" defTabSz="192024" rtl="0" eaLnBrk="1" latinLnBrk="0" hangingPunct="1">
        <a:defRPr sz="378" kern="1200">
          <a:solidFill>
            <a:schemeClr val="tx1"/>
          </a:solidFill>
          <a:latin typeface="+mn-lt"/>
          <a:ea typeface="+mn-ea"/>
          <a:cs typeface="+mn-cs"/>
        </a:defRPr>
      </a:lvl3pPr>
      <a:lvl4pPr marL="288036" algn="l" defTabSz="192024" rtl="0" eaLnBrk="1" latinLnBrk="0" hangingPunct="1">
        <a:defRPr sz="378" kern="1200">
          <a:solidFill>
            <a:schemeClr val="tx1"/>
          </a:solidFill>
          <a:latin typeface="+mn-lt"/>
          <a:ea typeface="+mn-ea"/>
          <a:cs typeface="+mn-cs"/>
        </a:defRPr>
      </a:lvl4pPr>
      <a:lvl5pPr marL="384048" algn="l" defTabSz="192024" rtl="0" eaLnBrk="1" latinLnBrk="0" hangingPunct="1">
        <a:defRPr sz="378" kern="1200">
          <a:solidFill>
            <a:schemeClr val="tx1"/>
          </a:solidFill>
          <a:latin typeface="+mn-lt"/>
          <a:ea typeface="+mn-ea"/>
          <a:cs typeface="+mn-cs"/>
        </a:defRPr>
      </a:lvl5pPr>
      <a:lvl6pPr marL="480060" algn="l" defTabSz="192024" rtl="0" eaLnBrk="1" latinLnBrk="0" hangingPunct="1">
        <a:defRPr sz="378" kern="1200">
          <a:solidFill>
            <a:schemeClr val="tx1"/>
          </a:solidFill>
          <a:latin typeface="+mn-lt"/>
          <a:ea typeface="+mn-ea"/>
          <a:cs typeface="+mn-cs"/>
        </a:defRPr>
      </a:lvl6pPr>
      <a:lvl7pPr marL="576072" algn="l" defTabSz="192024" rtl="0" eaLnBrk="1" latinLnBrk="0" hangingPunct="1">
        <a:defRPr sz="378" kern="1200">
          <a:solidFill>
            <a:schemeClr val="tx1"/>
          </a:solidFill>
          <a:latin typeface="+mn-lt"/>
          <a:ea typeface="+mn-ea"/>
          <a:cs typeface="+mn-cs"/>
        </a:defRPr>
      </a:lvl7pPr>
      <a:lvl8pPr marL="672084" algn="l" defTabSz="192024" rtl="0" eaLnBrk="1" latinLnBrk="0" hangingPunct="1">
        <a:defRPr sz="378" kern="1200">
          <a:solidFill>
            <a:schemeClr val="tx1"/>
          </a:solidFill>
          <a:latin typeface="+mn-lt"/>
          <a:ea typeface="+mn-ea"/>
          <a:cs typeface="+mn-cs"/>
        </a:defRPr>
      </a:lvl8pPr>
      <a:lvl9pPr marL="768096" algn="l" defTabSz="192024" rtl="0" eaLnBrk="1" latinLnBrk="0" hangingPunct="1">
        <a:defRPr sz="37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13" Type="http://schemas.openxmlformats.org/officeDocument/2006/relationships/image" Target="../media/image9.pn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3.png"/><Relationship Id="rId12" Type="http://schemas.openxmlformats.org/officeDocument/2006/relationships/image" Target="../media/image8.png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png"/><Relationship Id="rId11" Type="http://schemas.openxmlformats.org/officeDocument/2006/relationships/image" Target="../media/image7.png"/><Relationship Id="rId5" Type="http://schemas.openxmlformats.org/officeDocument/2006/relationships/image" Target="../media/image1.emf"/><Relationship Id="rId15" Type="http://schemas.openxmlformats.org/officeDocument/2006/relationships/image" Target="../media/image11.png"/><Relationship Id="rId10" Type="http://schemas.openxmlformats.org/officeDocument/2006/relationships/image" Target="../media/image6.png"/><Relationship Id="rId4" Type="http://schemas.openxmlformats.org/officeDocument/2006/relationships/oleObject" Target="../embeddings/oleObject2.bin"/><Relationship Id="rId9" Type="http://schemas.openxmlformats.org/officeDocument/2006/relationships/image" Target="../media/image5.png"/><Relationship Id="rId14" Type="http://schemas.openxmlformats.org/officeDocument/2006/relationships/image" Target="../media/image10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18240064"/>
              </p:ext>
            </p:extLst>
          </p:nvPr>
        </p:nvGraphicFramePr>
        <p:xfrm>
          <a:off x="-5684503" y="-3385098"/>
          <a:ext cx="1986" cy="19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9" name="think-cell Folie" r:id="rId4" imgW="384" imgH="384" progId="TCLayout.ActiveDocument.1">
                  <p:embed/>
                </p:oleObj>
              </mc:Choice>
              <mc:Fallback>
                <p:oleObj name="think-cell Folie" r:id="rId4" imgW="384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-5684503" y="-3385098"/>
                        <a:ext cx="1986" cy="198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5" name="Bogen 184">
            <a:extLst>
              <a:ext uri="{FF2B5EF4-FFF2-40B4-BE49-F238E27FC236}">
                <a16:creationId xmlns:a16="http://schemas.microsoft.com/office/drawing/2014/main" id="{087A55A0-5BC1-4523-9ED5-7FFF2AF716D5}"/>
              </a:ext>
            </a:extLst>
          </p:cNvPr>
          <p:cNvSpPr/>
          <p:nvPr/>
        </p:nvSpPr>
        <p:spPr>
          <a:xfrm>
            <a:off x="2200458" y="957060"/>
            <a:ext cx="354658" cy="358901"/>
          </a:xfrm>
          <a:prstGeom prst="arc">
            <a:avLst>
              <a:gd name="adj1" fmla="val 15516117"/>
              <a:gd name="adj2" fmla="val 20918329"/>
            </a:avLst>
          </a:prstGeom>
          <a:ln w="6350">
            <a:solidFill>
              <a:schemeClr val="tx1"/>
            </a:solidFill>
            <a:headEnd type="none" w="sm" len="sm"/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172" name="Textfeld 171"/>
              <p:cNvSpPr txBox="1"/>
              <p:nvPr/>
            </p:nvSpPr>
            <p:spPr>
              <a:xfrm>
                <a:off x="165644" y="1112242"/>
                <a:ext cx="493405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DE" sz="800" i="1" dirty="0">
                              <a:latin typeface="Cambria Math" panose="02040503050406030204" pitchFamily="18" charset="0"/>
                              <a:cs typeface="Times New Roman" panose="02020603050405020304" pitchFamily="18" charset="0"/>
                            </a:rPr>
                          </m:ctrlPr>
                        </m:sSubPr>
                        <m:e>
                          <m:r>
                            <a:rPr lang="de-DE" sz="800" i="1" dirty="0">
                              <a:latin typeface="Cambria Math" panose="02040503050406030204" pitchFamily="18" charset="0"/>
                              <a:cs typeface="Times New Roman" panose="02020603050405020304" pitchFamily="18" charset="0"/>
                            </a:rPr>
                            <m:t>𝑠</m:t>
                          </m:r>
                        </m:e>
                        <m:sub>
                          <m:r>
                            <a:rPr lang="de-DE" sz="800" i="1" dirty="0">
                              <a:latin typeface="Cambria Math" panose="02040503050406030204" pitchFamily="18" charset="0"/>
                              <a:cs typeface="Times New Roman" panose="02020603050405020304" pitchFamily="18" charset="0"/>
                            </a:rPr>
                            <m:t>2</m:t>
                          </m:r>
                        </m:sub>
                      </m:sSub>
                      <m:r>
                        <a:rPr lang="de-DE" sz="800" i="1" dirty="0">
                          <a:latin typeface="Cambria Math" panose="02040503050406030204" pitchFamily="18" charset="0"/>
                          <a:cs typeface="Times New Roman" panose="02020603050405020304" pitchFamily="18" charset="0"/>
                        </a:rPr>
                        <m:t>=0</m:t>
                      </m:r>
                    </m:oMath>
                  </m:oMathPara>
                </a14:m>
                <a:endParaRPr lang="de-DE" sz="800" dirty="0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</mc:Choice>
        <mc:Fallback>
          <p:sp>
            <p:nvSpPr>
              <p:cNvPr id="172" name="Textfeld 171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65644" y="1112242"/>
                <a:ext cx="493405" cy="215444"/>
              </a:xfrm>
              <a:prstGeom prst="rect">
                <a:avLst/>
              </a:prstGeom>
              <a:blipFill>
                <a:blip r:embed="rId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>
        <mc:Choice xmlns:a14="http://schemas.microsoft.com/office/drawing/2010/main" Requires="a14">
          <p:sp>
            <p:nvSpPr>
              <p:cNvPr id="171" name="Textfeld 170"/>
              <p:cNvSpPr txBox="1"/>
              <p:nvPr/>
            </p:nvSpPr>
            <p:spPr>
              <a:xfrm>
                <a:off x="701425" y="416785"/>
                <a:ext cx="301044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DE" sz="800" i="1" dirty="0">
                              <a:latin typeface="Cambria Math" panose="02040503050406030204" pitchFamily="18" charset="0"/>
                              <a:cs typeface="Times New Roman" panose="02020603050405020304" pitchFamily="18" charset="0"/>
                            </a:rPr>
                          </m:ctrlPr>
                        </m:sSubPr>
                        <m:e>
                          <m:r>
                            <a:rPr lang="de-DE" sz="800" i="1" dirty="0">
                              <a:latin typeface="Cambria Math" panose="02040503050406030204" pitchFamily="18" charset="0"/>
                              <a:cs typeface="Times New Roman" panose="02020603050405020304" pitchFamily="18" charset="0"/>
                            </a:rPr>
                            <m:t>𝑠</m:t>
                          </m:r>
                        </m:e>
                        <m:sub>
                          <m:r>
                            <a:rPr lang="de-DE" sz="800" i="1" dirty="0">
                              <a:latin typeface="Cambria Math" panose="02040503050406030204" pitchFamily="18" charset="0"/>
                              <a:cs typeface="Times New Roman" panose="02020603050405020304" pitchFamily="18" charset="0"/>
                            </a:rPr>
                            <m:t>1</m:t>
                          </m:r>
                        </m:sub>
                      </m:sSub>
                    </m:oMath>
                  </m:oMathPara>
                </a14:m>
                <a:endParaRPr lang="de-DE" sz="800" dirty="0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</mc:Choice>
        <mc:Fallback>
          <p:sp>
            <p:nvSpPr>
              <p:cNvPr id="171" name="Textfeld 170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01425" y="416785"/>
                <a:ext cx="301044" cy="215444"/>
              </a:xfrm>
              <a:prstGeom prst="rect">
                <a:avLst/>
              </a:prstGeom>
              <a:blipFill>
                <a:blip r:embed="rId7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35" name="Textfeld 134"/>
          <p:cNvSpPr txBox="1"/>
          <p:nvPr/>
        </p:nvSpPr>
        <p:spPr>
          <a:xfrm>
            <a:off x="-94146" y="-77043"/>
            <a:ext cx="285656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a)</a:t>
            </a:r>
            <a:endParaRPr lang="de-DE" sz="1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36" name="Textfeld 135"/>
          <p:cNvSpPr txBox="1"/>
          <p:nvPr/>
        </p:nvSpPr>
        <p:spPr>
          <a:xfrm>
            <a:off x="1529031" y="-77043"/>
            <a:ext cx="292068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b)</a:t>
            </a:r>
            <a:endParaRPr lang="de-DE" sz="1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cxnSp>
        <p:nvCxnSpPr>
          <p:cNvPr id="154" name="Gerade Verbindung mit Pfeil 153">
            <a:extLst>
              <a:ext uri="{FF2B5EF4-FFF2-40B4-BE49-F238E27FC236}">
                <a16:creationId xmlns:a16="http://schemas.microsoft.com/office/drawing/2014/main" id="{C6E3206E-EF21-431F-84ED-97F1FA492B8B}"/>
              </a:ext>
            </a:extLst>
          </p:cNvPr>
          <p:cNvCxnSpPr>
            <a:cxnSpLocks/>
          </p:cNvCxnSpPr>
          <p:nvPr/>
        </p:nvCxnSpPr>
        <p:spPr>
          <a:xfrm flipV="1">
            <a:off x="243409" y="131648"/>
            <a:ext cx="0" cy="504000"/>
          </a:xfrm>
          <a:prstGeom prst="straightConnector1">
            <a:avLst/>
          </a:prstGeom>
          <a:noFill/>
          <a:ln w="6350" cap="flat" cmpd="sng" algn="ctr">
            <a:solidFill>
              <a:srgbClr val="171717"/>
            </a:solidFill>
            <a:prstDash val="solid"/>
            <a:tailEnd type="triangle" w="sm" len="sm"/>
          </a:ln>
          <a:effectLst/>
        </p:spPr>
      </p:cxnSp>
      <p:cxnSp>
        <p:nvCxnSpPr>
          <p:cNvPr id="155" name="Gerade Verbindung mit Pfeil 154">
            <a:extLst>
              <a:ext uri="{FF2B5EF4-FFF2-40B4-BE49-F238E27FC236}">
                <a16:creationId xmlns:a16="http://schemas.microsoft.com/office/drawing/2014/main" id="{26433530-B7EC-4A0C-814D-374CF5E0A871}"/>
              </a:ext>
            </a:extLst>
          </p:cNvPr>
          <p:cNvCxnSpPr>
            <a:cxnSpLocks/>
          </p:cNvCxnSpPr>
          <p:nvPr/>
        </p:nvCxnSpPr>
        <p:spPr>
          <a:xfrm>
            <a:off x="243410" y="635649"/>
            <a:ext cx="1140891" cy="0"/>
          </a:xfrm>
          <a:prstGeom prst="straightConnector1">
            <a:avLst/>
          </a:prstGeom>
          <a:noFill/>
          <a:ln w="6350" cap="flat" cmpd="sng" algn="ctr">
            <a:solidFill>
              <a:srgbClr val="171717"/>
            </a:solidFill>
            <a:prstDash val="solid"/>
            <a:tailEnd type="triangle" w="sm" len="sm"/>
          </a:ln>
          <a:effectLst/>
        </p:spPr>
      </p:cxnSp>
      <mc:AlternateContent xmlns:mc="http://schemas.openxmlformats.org/markup-compatibility/2006">
        <mc:Choice xmlns:a14="http://schemas.microsoft.com/office/drawing/2010/main" Requires="a14">
          <p:sp>
            <p:nvSpPr>
              <p:cNvPr id="157" name="Textfeld 156">
                <a:extLst>
                  <a:ext uri="{FF2B5EF4-FFF2-40B4-BE49-F238E27FC236}">
                    <a16:creationId xmlns:a16="http://schemas.microsoft.com/office/drawing/2014/main" id="{5CEDDDAD-3C2F-4D81-98B5-39585E49A73D}"/>
                  </a:ext>
                </a:extLst>
              </p:cNvPr>
              <p:cNvSpPr txBox="1"/>
              <p:nvPr/>
            </p:nvSpPr>
            <p:spPr>
              <a:xfrm>
                <a:off x="84359" y="-64501"/>
                <a:ext cx="318100" cy="215444"/>
              </a:xfrm>
              <a:prstGeom prst="rect">
                <a:avLst/>
              </a:prstGeom>
              <a:noFill/>
              <a:ln w="6350">
                <a:noFill/>
              </a:ln>
            </p:spPr>
            <p:txBody>
              <a:bodyPr wrap="none" rtlCol="0">
                <a:spAutoFit/>
              </a:bodyPr>
              <a:lstStyle/>
              <a:p>
                <a:pPr defTabSz="1016630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DE" sz="800" i="1" kern="0">
                              <a:solidFill>
                                <a:srgbClr val="171717"/>
                              </a:solidFill>
                              <a:latin typeface="Cambria Math" panose="02040503050406030204" pitchFamily="18" charset="0"/>
                              <a:cs typeface="Times New Roman" panose="02020603050405020304" pitchFamily="18" charset="0"/>
                            </a:rPr>
                          </m:ctrlPr>
                        </m:sSubPr>
                        <m:e>
                          <m:r>
                            <a:rPr lang="de-DE" sz="800" i="1" kern="0">
                              <a:solidFill>
                                <a:srgbClr val="171717"/>
                              </a:solidFill>
                              <a:latin typeface="Cambria Math" panose="02040503050406030204" pitchFamily="18" charset="0"/>
                              <a:cs typeface="Times New Roman" panose="02020603050405020304" pitchFamily="18" charset="0"/>
                            </a:rPr>
                            <m:t>𝑦</m:t>
                          </m:r>
                        </m:e>
                        <m:sub>
                          <m:r>
                            <a:rPr lang="de-DE" sz="800" i="1" kern="0">
                              <a:solidFill>
                                <a:srgbClr val="171717"/>
                              </a:solidFill>
                              <a:latin typeface="Cambria Math" panose="02040503050406030204" pitchFamily="18" charset="0"/>
                              <a:cs typeface="Times New Roman" panose="02020603050405020304" pitchFamily="18" charset="0"/>
                            </a:rPr>
                            <m:t>1</m:t>
                          </m:r>
                        </m:sub>
                      </m:sSub>
                    </m:oMath>
                  </m:oMathPara>
                </a14:m>
                <a:endParaRPr lang="de-DE" sz="800" kern="0" dirty="0">
                  <a:solidFill>
                    <a:srgbClr val="171717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</mc:Choice>
        <mc:Fallback>
          <p:sp>
            <p:nvSpPr>
              <p:cNvPr id="157" name="Textfeld 156">
                <a:extLst>
                  <a:ext uri="{FF2B5EF4-FFF2-40B4-BE49-F238E27FC236}">
                    <a16:creationId xmlns:a16="http://schemas.microsoft.com/office/drawing/2014/main" id="{5CEDDDAD-3C2F-4D81-98B5-39585E49A73D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4359" y="-64501"/>
                <a:ext cx="318100" cy="215444"/>
              </a:xfrm>
              <a:prstGeom prst="rect">
                <a:avLst/>
              </a:prstGeom>
              <a:blipFill>
                <a:blip r:embed="rId8"/>
                <a:stretch>
                  <a:fillRect/>
                </a:stretch>
              </a:blipFill>
              <a:ln w="6350">
                <a:noFill/>
              </a:ln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158" name="Gerade Verbindung mit Pfeil 157">
            <a:extLst>
              <a:ext uri="{FF2B5EF4-FFF2-40B4-BE49-F238E27FC236}">
                <a16:creationId xmlns:a16="http://schemas.microsoft.com/office/drawing/2014/main" id="{C6E3206E-EF21-431F-84ED-97F1FA492B8B}"/>
              </a:ext>
            </a:extLst>
          </p:cNvPr>
          <p:cNvCxnSpPr>
            <a:cxnSpLocks/>
          </p:cNvCxnSpPr>
          <p:nvPr/>
        </p:nvCxnSpPr>
        <p:spPr>
          <a:xfrm flipV="1">
            <a:off x="243409" y="821010"/>
            <a:ext cx="0" cy="504000"/>
          </a:xfrm>
          <a:prstGeom prst="straightConnector1">
            <a:avLst/>
          </a:prstGeom>
          <a:noFill/>
          <a:ln w="6350" cap="flat" cmpd="sng" algn="ctr">
            <a:solidFill>
              <a:srgbClr val="171717"/>
            </a:solidFill>
            <a:prstDash val="solid"/>
            <a:tailEnd type="triangle" w="sm" len="sm"/>
          </a:ln>
          <a:effectLst/>
        </p:spPr>
      </p:cxnSp>
      <p:cxnSp>
        <p:nvCxnSpPr>
          <p:cNvPr id="159" name="Gerade Verbindung mit Pfeil 158">
            <a:extLst>
              <a:ext uri="{FF2B5EF4-FFF2-40B4-BE49-F238E27FC236}">
                <a16:creationId xmlns:a16="http://schemas.microsoft.com/office/drawing/2014/main" id="{26433530-B7EC-4A0C-814D-374CF5E0A871}"/>
              </a:ext>
            </a:extLst>
          </p:cNvPr>
          <p:cNvCxnSpPr>
            <a:cxnSpLocks/>
          </p:cNvCxnSpPr>
          <p:nvPr/>
        </p:nvCxnSpPr>
        <p:spPr>
          <a:xfrm>
            <a:off x="243409" y="1331852"/>
            <a:ext cx="1141200" cy="0"/>
          </a:xfrm>
          <a:prstGeom prst="straightConnector1">
            <a:avLst/>
          </a:prstGeom>
          <a:noFill/>
          <a:ln w="6350" cap="flat" cmpd="sng" algn="ctr">
            <a:solidFill>
              <a:srgbClr val="171717"/>
            </a:solidFill>
            <a:prstDash val="solid"/>
            <a:tailEnd type="triangle" w="sm" len="sm"/>
          </a:ln>
          <a:effectLst/>
        </p:spPr>
      </p:cxnSp>
      <mc:AlternateContent xmlns:mc="http://schemas.openxmlformats.org/markup-compatibility/2006">
        <mc:Choice xmlns:a14="http://schemas.microsoft.com/office/drawing/2010/main" Requires="a14">
          <p:sp>
            <p:nvSpPr>
              <p:cNvPr id="161" name="Textfeld 160">
                <a:extLst>
                  <a:ext uri="{FF2B5EF4-FFF2-40B4-BE49-F238E27FC236}">
                    <a16:creationId xmlns:a16="http://schemas.microsoft.com/office/drawing/2014/main" id="{5CEDDDAD-3C2F-4D81-98B5-39585E49A73D}"/>
                  </a:ext>
                </a:extLst>
              </p:cNvPr>
              <p:cNvSpPr txBox="1"/>
              <p:nvPr/>
            </p:nvSpPr>
            <p:spPr>
              <a:xfrm>
                <a:off x="83173" y="635244"/>
                <a:ext cx="320472" cy="215444"/>
              </a:xfrm>
              <a:prstGeom prst="rect">
                <a:avLst/>
              </a:prstGeom>
              <a:noFill/>
              <a:ln w="6350">
                <a:noFill/>
              </a:ln>
            </p:spPr>
            <p:txBody>
              <a:bodyPr wrap="none" rtlCol="0">
                <a:spAutoFit/>
              </a:bodyPr>
              <a:lstStyle/>
              <a:p>
                <a:pPr defTabSz="1016630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DE" sz="800" i="1" kern="0">
                              <a:solidFill>
                                <a:srgbClr val="171717"/>
                              </a:solidFill>
                              <a:latin typeface="Cambria Math" panose="02040503050406030204" pitchFamily="18" charset="0"/>
                              <a:cs typeface="Times New Roman" panose="02020603050405020304" pitchFamily="18" charset="0"/>
                            </a:rPr>
                          </m:ctrlPr>
                        </m:sSubPr>
                        <m:e>
                          <m:r>
                            <a:rPr lang="de-DE" sz="800" i="1" kern="0">
                              <a:solidFill>
                                <a:srgbClr val="171717"/>
                              </a:solidFill>
                              <a:latin typeface="Cambria Math" panose="02040503050406030204" pitchFamily="18" charset="0"/>
                              <a:cs typeface="Times New Roman" panose="02020603050405020304" pitchFamily="18" charset="0"/>
                            </a:rPr>
                            <m:t>𝑦</m:t>
                          </m:r>
                        </m:e>
                        <m:sub>
                          <m:r>
                            <a:rPr lang="de-DE" sz="800" i="1" kern="0">
                              <a:solidFill>
                                <a:srgbClr val="171717"/>
                              </a:solidFill>
                              <a:latin typeface="Cambria Math" panose="02040503050406030204" pitchFamily="18" charset="0"/>
                              <a:cs typeface="Times New Roman" panose="02020603050405020304" pitchFamily="18" charset="0"/>
                            </a:rPr>
                            <m:t>2</m:t>
                          </m:r>
                        </m:sub>
                      </m:sSub>
                    </m:oMath>
                  </m:oMathPara>
                </a14:m>
                <a:endParaRPr lang="de-DE" sz="800" kern="0" dirty="0">
                  <a:solidFill>
                    <a:srgbClr val="171717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</mc:Choice>
        <mc:Fallback>
          <p:sp>
            <p:nvSpPr>
              <p:cNvPr id="161" name="Textfeld 160">
                <a:extLst>
                  <a:ext uri="{FF2B5EF4-FFF2-40B4-BE49-F238E27FC236}">
                    <a16:creationId xmlns:a16="http://schemas.microsoft.com/office/drawing/2014/main" id="{5CEDDDAD-3C2F-4D81-98B5-39585E49A73D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3173" y="635244"/>
                <a:ext cx="320472" cy="215444"/>
              </a:xfrm>
              <a:prstGeom prst="rect">
                <a:avLst/>
              </a:prstGeom>
              <a:blipFill>
                <a:blip r:embed="rId9"/>
                <a:stretch>
                  <a:fillRect/>
                </a:stretch>
              </a:blipFill>
              <a:ln w="6350">
                <a:noFill/>
              </a:ln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64" name="Kreis 63"/>
          <p:cNvSpPr/>
          <p:nvPr/>
        </p:nvSpPr>
        <p:spPr>
          <a:xfrm>
            <a:off x="243409" y="549628"/>
            <a:ext cx="1042232" cy="86021"/>
          </a:xfrm>
          <a:custGeom>
            <a:avLst/>
            <a:gdLst>
              <a:gd name="connsiteX0" fmla="*/ 7337531 w 12600000"/>
              <a:gd name="connsiteY0" fmla="*/ 12513978 h 12600000"/>
              <a:gd name="connsiteX1" fmla="*/ 6295299 w 12600000"/>
              <a:gd name="connsiteY1" fmla="*/ 12599998 h 12600000"/>
              <a:gd name="connsiteX2" fmla="*/ 6300000 w 12600000"/>
              <a:gd name="connsiteY2" fmla="*/ 6300000 h 12600000"/>
              <a:gd name="connsiteX3" fmla="*/ 7337531 w 12600000"/>
              <a:gd name="connsiteY3" fmla="*/ 12513978 h 12600000"/>
              <a:gd name="connsiteX0" fmla="*/ 1049165 w 1049165"/>
              <a:gd name="connsiteY0" fmla="*/ 6213978 h 6299999"/>
              <a:gd name="connsiteX1" fmla="*/ 6933 w 1049165"/>
              <a:gd name="connsiteY1" fmla="*/ 6299998 h 6299999"/>
              <a:gd name="connsiteX2" fmla="*/ 0 w 1049165"/>
              <a:gd name="connsiteY2" fmla="*/ 4667283 h 6299999"/>
              <a:gd name="connsiteX3" fmla="*/ 11634 w 1049165"/>
              <a:gd name="connsiteY3" fmla="*/ 0 h 6299999"/>
              <a:gd name="connsiteX4" fmla="*/ 1049165 w 1049165"/>
              <a:gd name="connsiteY4" fmla="*/ 6213978 h 6299999"/>
              <a:gd name="connsiteX0" fmla="*/ 0 w 1049165"/>
              <a:gd name="connsiteY0" fmla="*/ 4667283 h 6299999"/>
              <a:gd name="connsiteX1" fmla="*/ 11634 w 1049165"/>
              <a:gd name="connsiteY1" fmla="*/ 0 h 6299999"/>
              <a:gd name="connsiteX2" fmla="*/ 1049165 w 1049165"/>
              <a:gd name="connsiteY2" fmla="*/ 6213978 h 6299999"/>
              <a:gd name="connsiteX3" fmla="*/ 6933 w 1049165"/>
              <a:gd name="connsiteY3" fmla="*/ 6299998 h 6299999"/>
              <a:gd name="connsiteX4" fmla="*/ 91440 w 1049165"/>
              <a:gd name="connsiteY4" fmla="*/ 4758723 h 6299999"/>
              <a:gd name="connsiteX0" fmla="*/ 0 w 1049165"/>
              <a:gd name="connsiteY0" fmla="*/ 4667283 h 6299999"/>
              <a:gd name="connsiteX1" fmla="*/ 11634 w 1049165"/>
              <a:gd name="connsiteY1" fmla="*/ 0 h 6299999"/>
              <a:gd name="connsiteX2" fmla="*/ 1049165 w 1049165"/>
              <a:gd name="connsiteY2" fmla="*/ 6213978 h 6299999"/>
              <a:gd name="connsiteX3" fmla="*/ 6933 w 1049165"/>
              <a:gd name="connsiteY3" fmla="*/ 6299998 h 6299999"/>
              <a:gd name="connsiteX0" fmla="*/ 4701 w 1042232"/>
              <a:gd name="connsiteY0" fmla="*/ 0 h 6299999"/>
              <a:gd name="connsiteX1" fmla="*/ 1042232 w 1042232"/>
              <a:gd name="connsiteY1" fmla="*/ 6213978 h 6299999"/>
              <a:gd name="connsiteX2" fmla="*/ 0 w 1042232"/>
              <a:gd name="connsiteY2" fmla="*/ 6299998 h 6299999"/>
              <a:gd name="connsiteX0" fmla="*/ 1042232 w 1042232"/>
              <a:gd name="connsiteY0" fmla="*/ 0 h 86021"/>
              <a:gd name="connsiteX1" fmla="*/ 0 w 1042232"/>
              <a:gd name="connsiteY1" fmla="*/ 86020 h 860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042232" h="86021">
                <a:moveTo>
                  <a:pt x="1042232" y="0"/>
                </a:moveTo>
                <a:cubicBezTo>
                  <a:pt x="697806" y="57508"/>
                  <a:pt x="349194" y="86280"/>
                  <a:pt x="0" y="86020"/>
                </a:cubicBezTo>
              </a:path>
            </a:pathLst>
          </a:cu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>
              <a:solidFill>
                <a:schemeClr val="tx1"/>
              </a:solidFill>
            </a:endParaRPr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65" name="Textfeld 64"/>
              <p:cNvSpPr txBox="1"/>
              <p:nvPr/>
            </p:nvSpPr>
            <p:spPr>
              <a:xfrm>
                <a:off x="1171575" y="349957"/>
                <a:ext cx="414152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sz="800" i="1" dirty="0">
                          <a:latin typeface="Cambria Math" panose="02040503050406030204" pitchFamily="18" charset="0"/>
                          <a:cs typeface="Times New Roman" panose="02020603050405020304" pitchFamily="18" charset="0"/>
                        </a:rPr>
                        <m:t>𝜅</m:t>
                      </m:r>
                      <m:r>
                        <a:rPr lang="de-DE" sz="800" i="1" dirty="0">
                          <a:latin typeface="Cambria Math" panose="02040503050406030204" pitchFamily="18" charset="0"/>
                          <a:cs typeface="Times New Roman" panose="02020603050405020304" pitchFamily="18" charset="0"/>
                        </a:rPr>
                        <m:t>, </m:t>
                      </m:r>
                      <m:sSub>
                        <m:sSubPr>
                          <m:ctrlPr>
                            <a:rPr lang="de-DE" sz="800" i="1" dirty="0">
                              <a:latin typeface="Cambria Math" panose="02040503050406030204" pitchFamily="18" charset="0"/>
                              <a:cs typeface="Times New Roman" panose="02020603050405020304" pitchFamily="18" charset="0"/>
                            </a:rPr>
                          </m:ctrlPr>
                        </m:sSubPr>
                        <m:e>
                          <m:r>
                            <a:rPr lang="de-DE" sz="800" i="1" dirty="0">
                              <a:latin typeface="Cambria Math" panose="02040503050406030204" pitchFamily="18" charset="0"/>
                              <a:cs typeface="Times New Roman" panose="02020603050405020304" pitchFamily="18" charset="0"/>
                            </a:rPr>
                            <m:t>𝐿</m:t>
                          </m:r>
                        </m:e>
                        <m:sub>
                          <m:r>
                            <a:rPr lang="de-DE" sz="800" i="1" dirty="0">
                              <a:latin typeface="Cambria Math" panose="02040503050406030204" pitchFamily="18" charset="0"/>
                              <a:cs typeface="Times New Roman" panose="02020603050405020304" pitchFamily="18" charset="0"/>
                            </a:rPr>
                            <m:t>𝑎</m:t>
                          </m:r>
                        </m:sub>
                      </m:sSub>
                    </m:oMath>
                  </m:oMathPara>
                </a14:m>
                <a:endParaRPr lang="de-DE" sz="800" dirty="0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</mc:Choice>
        <mc:Fallback>
          <p:sp>
            <p:nvSpPr>
              <p:cNvPr id="65" name="Textfeld 64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171575" y="349957"/>
                <a:ext cx="414152" cy="215444"/>
              </a:xfrm>
              <a:prstGeom prst="rect">
                <a:avLst/>
              </a:prstGeom>
              <a:blipFill>
                <a:blip r:embed="rId10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164" name="Gerader Verbinder 163"/>
          <p:cNvCxnSpPr/>
          <p:nvPr/>
        </p:nvCxnSpPr>
        <p:spPr>
          <a:xfrm>
            <a:off x="243409" y="1325010"/>
            <a:ext cx="720000" cy="0"/>
          </a:xfrm>
          <a:prstGeom prst="lin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mc:AlternateContent xmlns:mc="http://schemas.openxmlformats.org/markup-compatibility/2006">
        <mc:Choice xmlns:a14="http://schemas.microsoft.com/office/drawing/2010/main" Requires="a14">
          <p:sp>
            <p:nvSpPr>
              <p:cNvPr id="168" name="Textfeld 167"/>
              <p:cNvSpPr txBox="1"/>
              <p:nvPr/>
            </p:nvSpPr>
            <p:spPr>
              <a:xfrm>
                <a:off x="875035" y="1147956"/>
                <a:ext cx="297261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DE" sz="800" i="1" dirty="0">
                              <a:latin typeface="Cambria Math" panose="02040503050406030204" pitchFamily="18" charset="0"/>
                              <a:cs typeface="Times New Roman" panose="02020603050405020304" pitchFamily="18" charset="0"/>
                            </a:rPr>
                          </m:ctrlPr>
                        </m:sSubPr>
                        <m:e>
                          <m:r>
                            <a:rPr lang="de-DE" sz="800" i="1" dirty="0">
                              <a:latin typeface="Cambria Math" panose="02040503050406030204" pitchFamily="18" charset="0"/>
                              <a:cs typeface="Times New Roman" panose="02020603050405020304" pitchFamily="18" charset="0"/>
                            </a:rPr>
                            <m:t>𝐿</m:t>
                          </m:r>
                        </m:e>
                        <m:sub>
                          <m:r>
                            <a:rPr lang="de-DE" sz="800" i="1" dirty="0">
                              <a:latin typeface="Cambria Math" panose="02040503050406030204" pitchFamily="18" charset="0"/>
                              <a:cs typeface="Times New Roman" panose="02020603050405020304" pitchFamily="18" charset="0"/>
                            </a:rPr>
                            <m:t>𝑙</m:t>
                          </m:r>
                        </m:sub>
                      </m:sSub>
                    </m:oMath>
                  </m:oMathPara>
                </a14:m>
                <a:endParaRPr lang="de-DE" sz="800" dirty="0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</mc:Choice>
        <mc:Fallback>
          <p:sp>
            <p:nvSpPr>
              <p:cNvPr id="168" name="Textfeld 167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75035" y="1147956"/>
                <a:ext cx="297261" cy="215444"/>
              </a:xfrm>
              <a:prstGeom prst="rect">
                <a:avLst/>
              </a:prstGeom>
              <a:blipFill>
                <a:blip r:embed="rId11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69" name="Ellipse 168"/>
          <p:cNvSpPr>
            <a:spLocks noChangeAspect="1"/>
          </p:cNvSpPr>
          <p:nvPr/>
        </p:nvSpPr>
        <p:spPr>
          <a:xfrm>
            <a:off x="764525" y="592637"/>
            <a:ext cx="36000" cy="36000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/>
          </a:p>
        </p:txBody>
      </p:sp>
      <p:sp>
        <p:nvSpPr>
          <p:cNvPr id="170" name="Ellipse 169"/>
          <p:cNvSpPr>
            <a:spLocks noChangeAspect="1"/>
          </p:cNvSpPr>
          <p:nvPr/>
        </p:nvSpPr>
        <p:spPr>
          <a:xfrm>
            <a:off x="228504" y="1307010"/>
            <a:ext cx="36000" cy="36000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/>
          </a:p>
        </p:txBody>
      </p:sp>
      <p:cxnSp>
        <p:nvCxnSpPr>
          <p:cNvPr id="173" name="Gerade Verbindung mit Pfeil 172">
            <a:extLst>
              <a:ext uri="{FF2B5EF4-FFF2-40B4-BE49-F238E27FC236}">
                <a16:creationId xmlns:a16="http://schemas.microsoft.com/office/drawing/2014/main" id="{C6E3206E-EF21-431F-84ED-97F1FA492B8B}"/>
              </a:ext>
            </a:extLst>
          </p:cNvPr>
          <p:cNvCxnSpPr>
            <a:cxnSpLocks/>
            <a:endCxn id="191" idx="2"/>
          </p:cNvCxnSpPr>
          <p:nvPr/>
        </p:nvCxnSpPr>
        <p:spPr>
          <a:xfrm flipV="1">
            <a:off x="1833072" y="315258"/>
            <a:ext cx="0" cy="831566"/>
          </a:xfrm>
          <a:prstGeom prst="straightConnector1">
            <a:avLst/>
          </a:prstGeom>
          <a:noFill/>
          <a:ln w="6350" cap="flat" cmpd="sng" algn="ctr">
            <a:solidFill>
              <a:srgbClr val="171717"/>
            </a:solidFill>
            <a:prstDash val="solid"/>
            <a:tailEnd type="triangle" w="sm" len="sm"/>
          </a:ln>
          <a:effectLst/>
        </p:spPr>
      </p:cxnSp>
      <p:cxnSp>
        <p:nvCxnSpPr>
          <p:cNvPr id="174" name="Gerade Verbindung mit Pfeil 173">
            <a:extLst>
              <a:ext uri="{FF2B5EF4-FFF2-40B4-BE49-F238E27FC236}">
                <a16:creationId xmlns:a16="http://schemas.microsoft.com/office/drawing/2014/main" id="{26433530-B7EC-4A0C-814D-374CF5E0A871}"/>
              </a:ext>
            </a:extLst>
          </p:cNvPr>
          <p:cNvCxnSpPr>
            <a:cxnSpLocks/>
          </p:cNvCxnSpPr>
          <p:nvPr/>
        </p:nvCxnSpPr>
        <p:spPr>
          <a:xfrm>
            <a:off x="1830937" y="1146824"/>
            <a:ext cx="1140891" cy="0"/>
          </a:xfrm>
          <a:prstGeom prst="straightConnector1">
            <a:avLst/>
          </a:prstGeom>
          <a:noFill/>
          <a:ln w="6350" cap="flat" cmpd="sng" algn="ctr">
            <a:solidFill>
              <a:srgbClr val="171717"/>
            </a:solidFill>
            <a:prstDash val="solid"/>
            <a:tailEnd type="triangle" w="sm" len="sm"/>
          </a:ln>
          <a:effectLst/>
        </p:spPr>
      </p:cxnSp>
      <p:sp>
        <p:nvSpPr>
          <p:cNvPr id="180" name="Kreis 63"/>
          <p:cNvSpPr/>
          <p:nvPr/>
        </p:nvSpPr>
        <p:spPr>
          <a:xfrm>
            <a:off x="1830936" y="1060804"/>
            <a:ext cx="1042232" cy="86021"/>
          </a:xfrm>
          <a:custGeom>
            <a:avLst/>
            <a:gdLst>
              <a:gd name="connsiteX0" fmla="*/ 7337531 w 12600000"/>
              <a:gd name="connsiteY0" fmla="*/ 12513978 h 12600000"/>
              <a:gd name="connsiteX1" fmla="*/ 6295299 w 12600000"/>
              <a:gd name="connsiteY1" fmla="*/ 12599998 h 12600000"/>
              <a:gd name="connsiteX2" fmla="*/ 6300000 w 12600000"/>
              <a:gd name="connsiteY2" fmla="*/ 6300000 h 12600000"/>
              <a:gd name="connsiteX3" fmla="*/ 7337531 w 12600000"/>
              <a:gd name="connsiteY3" fmla="*/ 12513978 h 12600000"/>
              <a:gd name="connsiteX0" fmla="*/ 1049165 w 1049165"/>
              <a:gd name="connsiteY0" fmla="*/ 6213978 h 6299999"/>
              <a:gd name="connsiteX1" fmla="*/ 6933 w 1049165"/>
              <a:gd name="connsiteY1" fmla="*/ 6299998 h 6299999"/>
              <a:gd name="connsiteX2" fmla="*/ 0 w 1049165"/>
              <a:gd name="connsiteY2" fmla="*/ 4667283 h 6299999"/>
              <a:gd name="connsiteX3" fmla="*/ 11634 w 1049165"/>
              <a:gd name="connsiteY3" fmla="*/ 0 h 6299999"/>
              <a:gd name="connsiteX4" fmla="*/ 1049165 w 1049165"/>
              <a:gd name="connsiteY4" fmla="*/ 6213978 h 6299999"/>
              <a:gd name="connsiteX0" fmla="*/ 0 w 1049165"/>
              <a:gd name="connsiteY0" fmla="*/ 4667283 h 6299999"/>
              <a:gd name="connsiteX1" fmla="*/ 11634 w 1049165"/>
              <a:gd name="connsiteY1" fmla="*/ 0 h 6299999"/>
              <a:gd name="connsiteX2" fmla="*/ 1049165 w 1049165"/>
              <a:gd name="connsiteY2" fmla="*/ 6213978 h 6299999"/>
              <a:gd name="connsiteX3" fmla="*/ 6933 w 1049165"/>
              <a:gd name="connsiteY3" fmla="*/ 6299998 h 6299999"/>
              <a:gd name="connsiteX4" fmla="*/ 91440 w 1049165"/>
              <a:gd name="connsiteY4" fmla="*/ 4758723 h 6299999"/>
              <a:gd name="connsiteX0" fmla="*/ 0 w 1049165"/>
              <a:gd name="connsiteY0" fmla="*/ 4667283 h 6299999"/>
              <a:gd name="connsiteX1" fmla="*/ 11634 w 1049165"/>
              <a:gd name="connsiteY1" fmla="*/ 0 h 6299999"/>
              <a:gd name="connsiteX2" fmla="*/ 1049165 w 1049165"/>
              <a:gd name="connsiteY2" fmla="*/ 6213978 h 6299999"/>
              <a:gd name="connsiteX3" fmla="*/ 6933 w 1049165"/>
              <a:gd name="connsiteY3" fmla="*/ 6299998 h 6299999"/>
              <a:gd name="connsiteX0" fmla="*/ 4701 w 1042232"/>
              <a:gd name="connsiteY0" fmla="*/ 0 h 6299999"/>
              <a:gd name="connsiteX1" fmla="*/ 1042232 w 1042232"/>
              <a:gd name="connsiteY1" fmla="*/ 6213978 h 6299999"/>
              <a:gd name="connsiteX2" fmla="*/ 0 w 1042232"/>
              <a:gd name="connsiteY2" fmla="*/ 6299998 h 6299999"/>
              <a:gd name="connsiteX0" fmla="*/ 1042232 w 1042232"/>
              <a:gd name="connsiteY0" fmla="*/ 0 h 86021"/>
              <a:gd name="connsiteX1" fmla="*/ 0 w 1042232"/>
              <a:gd name="connsiteY1" fmla="*/ 86020 h 860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042232" h="86021">
                <a:moveTo>
                  <a:pt x="1042232" y="0"/>
                </a:moveTo>
                <a:cubicBezTo>
                  <a:pt x="697806" y="57508"/>
                  <a:pt x="349194" y="86280"/>
                  <a:pt x="0" y="86020"/>
                </a:cubicBezTo>
              </a:path>
            </a:pathLst>
          </a:cu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>
              <a:solidFill>
                <a:schemeClr val="tx1"/>
              </a:solidFill>
            </a:endParaRPr>
          </a:p>
        </p:txBody>
      </p:sp>
      <p:cxnSp>
        <p:nvCxnSpPr>
          <p:cNvPr id="181" name="Gerader Verbinder 180"/>
          <p:cNvCxnSpPr/>
          <p:nvPr/>
        </p:nvCxnSpPr>
        <p:spPr>
          <a:xfrm rot="4800000">
            <a:off x="1945374" y="767282"/>
            <a:ext cx="720000" cy="0"/>
          </a:xfrm>
          <a:prstGeom prst="lin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182" name="Ellipse 181"/>
          <p:cNvSpPr>
            <a:spLocks noChangeAspect="1"/>
          </p:cNvSpPr>
          <p:nvPr/>
        </p:nvSpPr>
        <p:spPr>
          <a:xfrm>
            <a:off x="2352052" y="1103813"/>
            <a:ext cx="36000" cy="36000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/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188" name="Textfeld 187"/>
              <p:cNvSpPr txBox="1"/>
              <p:nvPr/>
            </p:nvSpPr>
            <p:spPr>
              <a:xfrm>
                <a:off x="2377787" y="823854"/>
                <a:ext cx="274306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sz="800" i="1" dirty="0">
                          <a:latin typeface="Cambria Math" panose="02040503050406030204" pitchFamily="18" charset="0"/>
                          <a:cs typeface="Times New Roman" panose="02020603050405020304" pitchFamily="18" charset="0"/>
                        </a:rPr>
                        <m:t>𝛼</m:t>
                      </m:r>
                    </m:oMath>
                  </m:oMathPara>
                </a14:m>
                <a:endParaRPr lang="de-DE" sz="800" dirty="0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</mc:Choice>
        <mc:Fallback>
          <p:sp>
            <p:nvSpPr>
              <p:cNvPr id="188" name="Textfeld 187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377787" y="823854"/>
                <a:ext cx="274306" cy="215444"/>
              </a:xfrm>
              <a:prstGeom prst="rect">
                <a:avLst/>
              </a:prstGeom>
              <a:blipFill>
                <a:blip r:embed="rId12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>
        <mc:Choice xmlns:a14="http://schemas.microsoft.com/office/drawing/2010/main" Requires="a14">
          <p:sp>
            <p:nvSpPr>
              <p:cNvPr id="189" name="Textfeld 188">
                <a:extLst>
                  <a:ext uri="{FF2B5EF4-FFF2-40B4-BE49-F238E27FC236}">
                    <a16:creationId xmlns:a16="http://schemas.microsoft.com/office/drawing/2014/main" id="{5CEDDDAD-3C2F-4D81-98B5-39585E49A73D}"/>
                  </a:ext>
                </a:extLst>
              </p:cNvPr>
              <p:cNvSpPr txBox="1"/>
              <p:nvPr/>
            </p:nvSpPr>
            <p:spPr>
              <a:xfrm>
                <a:off x="1308448" y="527927"/>
                <a:ext cx="308931" cy="215444"/>
              </a:xfrm>
              <a:prstGeom prst="rect">
                <a:avLst/>
              </a:prstGeom>
              <a:noFill/>
              <a:ln w="6350">
                <a:noFill/>
              </a:ln>
            </p:spPr>
            <p:txBody>
              <a:bodyPr wrap="none" rtlCol="0">
                <a:spAutoFit/>
              </a:bodyPr>
              <a:lstStyle/>
              <a:p>
                <a:pPr defTabSz="1016630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DE" sz="800" i="1" kern="0">
                              <a:solidFill>
                                <a:srgbClr val="171717"/>
                              </a:solidFill>
                              <a:latin typeface="Cambria Math" panose="02040503050406030204" pitchFamily="18" charset="0"/>
                              <a:cs typeface="Times New Roman" panose="02020603050405020304" pitchFamily="18" charset="0"/>
                            </a:rPr>
                          </m:ctrlPr>
                        </m:sSubPr>
                        <m:e>
                          <m:r>
                            <a:rPr lang="de-DE" sz="800" i="1" kern="0">
                              <a:solidFill>
                                <a:srgbClr val="171717"/>
                              </a:solidFill>
                              <a:latin typeface="Cambria Math" panose="02040503050406030204" pitchFamily="18" charset="0"/>
                              <a:cs typeface="Times New Roman" panose="02020603050405020304" pitchFamily="18" charset="0"/>
                            </a:rPr>
                            <m:t>𝑥</m:t>
                          </m:r>
                        </m:e>
                        <m:sub>
                          <m:r>
                            <a:rPr lang="de-DE" sz="800" i="1" kern="0">
                              <a:solidFill>
                                <a:srgbClr val="171717"/>
                              </a:solidFill>
                              <a:latin typeface="Cambria Math" panose="02040503050406030204" pitchFamily="18" charset="0"/>
                              <a:cs typeface="Times New Roman" panose="02020603050405020304" pitchFamily="18" charset="0"/>
                            </a:rPr>
                            <m:t>1</m:t>
                          </m:r>
                        </m:sub>
                      </m:sSub>
                    </m:oMath>
                  </m:oMathPara>
                </a14:m>
                <a:endParaRPr lang="de-DE" sz="800" kern="0" dirty="0">
                  <a:solidFill>
                    <a:srgbClr val="171717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</mc:Choice>
        <mc:Fallback>
          <p:sp>
            <p:nvSpPr>
              <p:cNvPr id="189" name="Textfeld 188">
                <a:extLst>
                  <a:ext uri="{FF2B5EF4-FFF2-40B4-BE49-F238E27FC236}">
                    <a16:creationId xmlns:a16="http://schemas.microsoft.com/office/drawing/2014/main" id="{5CEDDDAD-3C2F-4D81-98B5-39585E49A73D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308448" y="527927"/>
                <a:ext cx="308931" cy="215444"/>
              </a:xfrm>
              <a:prstGeom prst="rect">
                <a:avLst/>
              </a:prstGeom>
              <a:blipFill>
                <a:blip r:embed="rId13"/>
                <a:stretch>
                  <a:fillRect/>
                </a:stretch>
              </a:blipFill>
              <a:ln w="6350">
                <a:noFill/>
              </a:ln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>
        <mc:Choice xmlns:a14="http://schemas.microsoft.com/office/drawing/2010/main" Requires="a14">
          <p:sp>
            <p:nvSpPr>
              <p:cNvPr id="190" name="Textfeld 189">
                <a:extLst>
                  <a:ext uri="{FF2B5EF4-FFF2-40B4-BE49-F238E27FC236}">
                    <a16:creationId xmlns:a16="http://schemas.microsoft.com/office/drawing/2014/main" id="{5CEDDDAD-3C2F-4D81-98B5-39585E49A73D}"/>
                  </a:ext>
                </a:extLst>
              </p:cNvPr>
              <p:cNvSpPr txBox="1"/>
              <p:nvPr/>
            </p:nvSpPr>
            <p:spPr>
              <a:xfrm>
                <a:off x="1308448" y="1224130"/>
                <a:ext cx="311303" cy="215444"/>
              </a:xfrm>
              <a:prstGeom prst="rect">
                <a:avLst/>
              </a:prstGeom>
              <a:noFill/>
              <a:ln w="6350">
                <a:noFill/>
              </a:ln>
            </p:spPr>
            <p:txBody>
              <a:bodyPr wrap="none" rtlCol="0">
                <a:spAutoFit/>
              </a:bodyPr>
              <a:lstStyle/>
              <a:p>
                <a:pPr defTabSz="1016630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DE" sz="800" i="1" kern="0">
                              <a:solidFill>
                                <a:srgbClr val="171717"/>
                              </a:solidFill>
                              <a:latin typeface="Cambria Math" panose="02040503050406030204" pitchFamily="18" charset="0"/>
                              <a:cs typeface="Times New Roman" panose="02020603050405020304" pitchFamily="18" charset="0"/>
                            </a:rPr>
                          </m:ctrlPr>
                        </m:sSubPr>
                        <m:e>
                          <m:r>
                            <a:rPr lang="de-DE" sz="800" i="1" kern="0">
                              <a:solidFill>
                                <a:srgbClr val="171717"/>
                              </a:solidFill>
                              <a:latin typeface="Cambria Math" panose="02040503050406030204" pitchFamily="18" charset="0"/>
                              <a:cs typeface="Times New Roman" panose="02020603050405020304" pitchFamily="18" charset="0"/>
                            </a:rPr>
                            <m:t>𝑥</m:t>
                          </m:r>
                        </m:e>
                        <m:sub>
                          <m:r>
                            <a:rPr lang="de-DE" sz="800" i="1" kern="0">
                              <a:solidFill>
                                <a:srgbClr val="171717"/>
                              </a:solidFill>
                              <a:latin typeface="Cambria Math" panose="02040503050406030204" pitchFamily="18" charset="0"/>
                              <a:cs typeface="Times New Roman" panose="02020603050405020304" pitchFamily="18" charset="0"/>
                            </a:rPr>
                            <m:t>2</m:t>
                          </m:r>
                        </m:sub>
                      </m:sSub>
                    </m:oMath>
                  </m:oMathPara>
                </a14:m>
                <a:endParaRPr lang="de-DE" sz="800" kern="0" dirty="0">
                  <a:solidFill>
                    <a:srgbClr val="171717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</mc:Choice>
        <mc:Fallback>
          <p:sp>
            <p:nvSpPr>
              <p:cNvPr id="190" name="Textfeld 189">
                <a:extLst>
                  <a:ext uri="{FF2B5EF4-FFF2-40B4-BE49-F238E27FC236}">
                    <a16:creationId xmlns:a16="http://schemas.microsoft.com/office/drawing/2014/main" id="{5CEDDDAD-3C2F-4D81-98B5-39585E49A73D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308448" y="1224130"/>
                <a:ext cx="311303" cy="215444"/>
              </a:xfrm>
              <a:prstGeom prst="rect">
                <a:avLst/>
              </a:prstGeom>
              <a:blipFill>
                <a:blip r:embed="rId14"/>
                <a:stretch>
                  <a:fillRect/>
                </a:stretch>
              </a:blipFill>
              <a:ln w="6350">
                <a:noFill/>
              </a:ln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>
        <mc:Choice xmlns:a14="http://schemas.microsoft.com/office/drawing/2010/main" Requires="a14">
          <p:sp>
            <p:nvSpPr>
              <p:cNvPr id="191" name="Textfeld 190">
                <a:extLst>
                  <a:ext uri="{FF2B5EF4-FFF2-40B4-BE49-F238E27FC236}">
                    <a16:creationId xmlns:a16="http://schemas.microsoft.com/office/drawing/2014/main" id="{5CEDDDAD-3C2F-4D81-98B5-39585E49A73D}"/>
                  </a:ext>
                </a:extLst>
              </p:cNvPr>
              <p:cNvSpPr txBox="1"/>
              <p:nvPr/>
            </p:nvSpPr>
            <p:spPr>
              <a:xfrm>
                <a:off x="1674022" y="99814"/>
                <a:ext cx="318100" cy="215444"/>
              </a:xfrm>
              <a:prstGeom prst="rect">
                <a:avLst/>
              </a:prstGeom>
              <a:noFill/>
              <a:ln w="6350">
                <a:noFill/>
              </a:ln>
            </p:spPr>
            <p:txBody>
              <a:bodyPr wrap="none" rtlCol="0">
                <a:spAutoFit/>
              </a:bodyPr>
              <a:lstStyle/>
              <a:p>
                <a:pPr defTabSz="1016630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DE" sz="800" i="1" kern="0">
                              <a:solidFill>
                                <a:srgbClr val="171717"/>
                              </a:solidFill>
                              <a:latin typeface="Cambria Math" panose="02040503050406030204" pitchFamily="18" charset="0"/>
                              <a:cs typeface="Times New Roman" panose="02020603050405020304" pitchFamily="18" charset="0"/>
                            </a:rPr>
                          </m:ctrlPr>
                        </m:sSubPr>
                        <m:e>
                          <m:r>
                            <a:rPr lang="de-DE" sz="800" i="1" kern="0">
                              <a:solidFill>
                                <a:srgbClr val="171717"/>
                              </a:solidFill>
                              <a:latin typeface="Cambria Math" panose="02040503050406030204" pitchFamily="18" charset="0"/>
                              <a:cs typeface="Times New Roman" panose="02020603050405020304" pitchFamily="18" charset="0"/>
                            </a:rPr>
                            <m:t>𝑦</m:t>
                          </m:r>
                        </m:e>
                        <m:sub>
                          <m:r>
                            <a:rPr lang="de-DE" sz="800" i="1" kern="0">
                              <a:solidFill>
                                <a:srgbClr val="171717"/>
                              </a:solidFill>
                              <a:latin typeface="Cambria Math" panose="02040503050406030204" pitchFamily="18" charset="0"/>
                              <a:cs typeface="Times New Roman" panose="02020603050405020304" pitchFamily="18" charset="0"/>
                            </a:rPr>
                            <m:t>1</m:t>
                          </m:r>
                        </m:sub>
                      </m:sSub>
                    </m:oMath>
                  </m:oMathPara>
                </a14:m>
                <a:endParaRPr lang="de-DE" sz="800" kern="0" dirty="0">
                  <a:solidFill>
                    <a:srgbClr val="171717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</mc:Choice>
        <mc:Fallback>
          <p:sp>
            <p:nvSpPr>
              <p:cNvPr id="191" name="Textfeld 190">
                <a:extLst>
                  <a:ext uri="{FF2B5EF4-FFF2-40B4-BE49-F238E27FC236}">
                    <a16:creationId xmlns:a16="http://schemas.microsoft.com/office/drawing/2014/main" id="{5CEDDDAD-3C2F-4D81-98B5-39585E49A73D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674022" y="99814"/>
                <a:ext cx="318100" cy="215444"/>
              </a:xfrm>
              <a:prstGeom prst="rect">
                <a:avLst/>
              </a:prstGeom>
              <a:blipFill>
                <a:blip r:embed="rId8"/>
                <a:stretch>
                  <a:fillRect/>
                </a:stretch>
              </a:blipFill>
              <a:ln w="6350">
                <a:noFill/>
              </a:ln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>
        <mc:Choice xmlns:a14="http://schemas.microsoft.com/office/drawing/2010/main" Requires="a14">
          <p:sp>
            <p:nvSpPr>
              <p:cNvPr id="192" name="Textfeld 191">
                <a:extLst>
                  <a:ext uri="{FF2B5EF4-FFF2-40B4-BE49-F238E27FC236}">
                    <a16:creationId xmlns:a16="http://schemas.microsoft.com/office/drawing/2014/main" id="{5CEDDDAD-3C2F-4D81-98B5-39585E49A73D}"/>
                  </a:ext>
                </a:extLst>
              </p:cNvPr>
              <p:cNvSpPr txBox="1"/>
              <p:nvPr/>
            </p:nvSpPr>
            <p:spPr>
              <a:xfrm>
                <a:off x="2897389" y="1039102"/>
                <a:ext cx="308931" cy="215444"/>
              </a:xfrm>
              <a:prstGeom prst="rect">
                <a:avLst/>
              </a:prstGeom>
              <a:noFill/>
              <a:ln w="6350">
                <a:noFill/>
              </a:ln>
            </p:spPr>
            <p:txBody>
              <a:bodyPr wrap="none" rtlCol="0">
                <a:spAutoFit/>
              </a:bodyPr>
              <a:lstStyle/>
              <a:p>
                <a:pPr defTabSz="1016630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DE" sz="800" i="1" kern="0">
                              <a:solidFill>
                                <a:srgbClr val="171717"/>
                              </a:solidFill>
                              <a:latin typeface="Cambria Math" panose="02040503050406030204" pitchFamily="18" charset="0"/>
                              <a:cs typeface="Times New Roman" panose="02020603050405020304" pitchFamily="18" charset="0"/>
                            </a:rPr>
                          </m:ctrlPr>
                        </m:sSubPr>
                        <m:e>
                          <m:r>
                            <a:rPr lang="de-DE" sz="800" i="1" kern="0">
                              <a:solidFill>
                                <a:srgbClr val="171717"/>
                              </a:solidFill>
                              <a:latin typeface="Cambria Math" panose="02040503050406030204" pitchFamily="18" charset="0"/>
                              <a:cs typeface="Times New Roman" panose="02020603050405020304" pitchFamily="18" charset="0"/>
                            </a:rPr>
                            <m:t>𝑥</m:t>
                          </m:r>
                        </m:e>
                        <m:sub>
                          <m:r>
                            <a:rPr lang="de-DE" sz="800" i="1" kern="0">
                              <a:solidFill>
                                <a:srgbClr val="171717"/>
                              </a:solidFill>
                              <a:latin typeface="Cambria Math" panose="02040503050406030204" pitchFamily="18" charset="0"/>
                              <a:cs typeface="Times New Roman" panose="02020603050405020304" pitchFamily="18" charset="0"/>
                            </a:rPr>
                            <m:t>1</m:t>
                          </m:r>
                        </m:sub>
                      </m:sSub>
                    </m:oMath>
                  </m:oMathPara>
                </a14:m>
                <a:endParaRPr lang="de-DE" sz="800" kern="0" dirty="0">
                  <a:solidFill>
                    <a:srgbClr val="171717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</mc:Choice>
        <mc:Fallback>
          <p:sp>
            <p:nvSpPr>
              <p:cNvPr id="192" name="Textfeld 191">
                <a:extLst>
                  <a:ext uri="{FF2B5EF4-FFF2-40B4-BE49-F238E27FC236}">
                    <a16:creationId xmlns:a16="http://schemas.microsoft.com/office/drawing/2014/main" id="{5CEDDDAD-3C2F-4D81-98B5-39585E49A73D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897389" y="1039102"/>
                <a:ext cx="308931" cy="215444"/>
              </a:xfrm>
              <a:prstGeom prst="rect">
                <a:avLst/>
              </a:prstGeom>
              <a:blipFill>
                <a:blip r:embed="rId15"/>
                <a:stretch>
                  <a:fillRect/>
                </a:stretch>
              </a:blipFill>
              <a:ln w="6350">
                <a:noFill/>
              </a:ln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6334614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pAfZ4KIOWW5hcuSKUwiu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0</TotalTime>
  <Words>59</Words>
  <Application>Microsoft Office PowerPoint</Application>
  <PresentationFormat>Benutzerdefiniert</PresentationFormat>
  <Paragraphs>13</Paragraphs>
  <Slides>1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8" baseType="lpstr">
      <vt:lpstr>Arial</vt:lpstr>
      <vt:lpstr>Calibri</vt:lpstr>
      <vt:lpstr>Calibri Light</vt:lpstr>
      <vt:lpstr>Cambria Math</vt:lpstr>
      <vt:lpstr>Times New Roman</vt:lpstr>
      <vt:lpstr>Office</vt:lpstr>
      <vt:lpstr>think-cell Folie</vt:lpstr>
      <vt:lpstr>PowerPoint-Präsentation</vt:lpstr>
    </vt:vector>
  </TitlesOfParts>
  <Company>ika RWTH Aachen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Daniel Becker</dc:creator>
  <cp:lastModifiedBy>Daniel Becker</cp:lastModifiedBy>
  <cp:revision>10</cp:revision>
  <dcterms:created xsi:type="dcterms:W3CDTF">2020-02-07T12:21:17Z</dcterms:created>
  <dcterms:modified xsi:type="dcterms:W3CDTF">2020-02-11T15:36:22Z</dcterms:modified>
</cp:coreProperties>
</file>